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tags/tag47.xml" ContentType="application/vnd.openxmlformats-officedocument.presentationml.tags+xml"/>
  <Override PartName="/ppt/notesSlides/notesSlide3.xml" ContentType="application/vnd.openxmlformats-officedocument.presentationml.notesSlide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2" r:id="rId2"/>
  </p:sldMasterIdLst>
  <p:notesMasterIdLst>
    <p:notesMasterId r:id="rId7"/>
  </p:notesMasterIdLst>
  <p:sldIdLst>
    <p:sldId id="280" r:id="rId3"/>
    <p:sldId id="284" r:id="rId4"/>
    <p:sldId id="285" r:id="rId5"/>
    <p:sldId id="28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D3C2"/>
    <a:srgbClr val="9CD3C4"/>
    <a:srgbClr val="98D2BF"/>
    <a:srgbClr val="E6F4ED"/>
    <a:srgbClr val="A2D6BE"/>
    <a:srgbClr val="8FCDB1"/>
    <a:srgbClr val="439771"/>
    <a:srgbClr val="49A57B"/>
    <a:srgbClr val="8BCBAE"/>
    <a:srgbClr val="CADC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05E12D-E5AD-4CCD-BCE0-AE0E8523EA91}" v="214" dt="2022-11-10T16:17:14.595"/>
    <p1510:client id="{6F907AAC-D930-4567-876C-DBA2AD137AE7}" v="9" dt="2022-11-02T14:51:54.9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12" autoAdjust="0"/>
    <p:restoredTop sz="94249" autoAdjust="0"/>
  </p:normalViewPr>
  <p:slideViewPr>
    <p:cSldViewPr snapToGrid="0">
      <p:cViewPr varScale="1">
        <p:scale>
          <a:sx n="68" d="100"/>
          <a:sy n="68" d="100"/>
        </p:scale>
        <p:origin x="738" y="66"/>
      </p:cViewPr>
      <p:guideLst/>
    </p:cSldViewPr>
  </p:slideViewPr>
  <p:outlineViewPr>
    <p:cViewPr>
      <p:scale>
        <a:sx n="33" d="100"/>
        <a:sy n="33" d="100"/>
      </p:scale>
      <p:origin x="0" y="-3641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i Khoury" userId="S::rami@auxi.ai::71bbf9ab-5347-4116-ad90-41b06fea083e" providerId="AD" clId="Web-{0F05E12D-E5AD-4CCD-BCE0-AE0E8523EA91}"/>
    <pc:docChg chg="addSld delSld modSld modSection">
      <pc:chgData name="Rami Khoury" userId="S::rami@auxi.ai::71bbf9ab-5347-4116-ad90-41b06fea083e" providerId="AD" clId="Web-{0F05E12D-E5AD-4CCD-BCE0-AE0E8523EA91}" dt="2022-11-10T16:17:14.314" v="197" actId="20577"/>
      <pc:docMkLst>
        <pc:docMk/>
      </pc:docMkLst>
      <pc:sldChg chg="addSp modSp">
        <pc:chgData name="Rami Khoury" userId="S::rami@auxi.ai::71bbf9ab-5347-4116-ad90-41b06fea083e" providerId="AD" clId="Web-{0F05E12D-E5AD-4CCD-BCE0-AE0E8523EA91}" dt="2022-11-10T16:12:19.730" v="12" actId="20577"/>
        <pc:sldMkLst>
          <pc:docMk/>
          <pc:sldMk cId="2001438181" sldId="414"/>
        </pc:sldMkLst>
        <pc:spChg chg="add mod">
          <ac:chgData name="Rami Khoury" userId="S::rami@auxi.ai::71bbf9ab-5347-4116-ad90-41b06fea083e" providerId="AD" clId="Web-{0F05E12D-E5AD-4CCD-BCE0-AE0E8523EA91}" dt="2022-11-10T16:12:19.730" v="12" actId="20577"/>
          <ac:spMkLst>
            <pc:docMk/>
            <pc:sldMk cId="2001438181" sldId="414"/>
            <ac:spMk id="3" creationId="{CC062EAB-C249-7060-E30B-C19AC4862F8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3:13.481" v="22" actId="1076"/>
        <pc:sldMkLst>
          <pc:docMk/>
          <pc:sldMk cId="3992836934" sldId="416"/>
        </pc:sldMkLst>
        <pc:spChg chg="add mod">
          <ac:chgData name="Rami Khoury" userId="S::rami@auxi.ai::71bbf9ab-5347-4116-ad90-41b06fea083e" providerId="AD" clId="Web-{0F05E12D-E5AD-4CCD-BCE0-AE0E8523EA91}" dt="2022-11-10T16:13:13.481" v="22" actId="1076"/>
          <ac:spMkLst>
            <pc:docMk/>
            <pc:sldMk cId="3992836934" sldId="416"/>
            <ac:spMk id="3" creationId="{2E336C8A-9CEB-6D6A-7908-B25424C6F4E9}"/>
          </ac:spMkLst>
        </pc:spChg>
      </pc:sldChg>
      <pc:sldChg chg="addSp delSp modSp add del">
        <pc:chgData name="Rami Khoury" userId="S::rami@auxi.ai::71bbf9ab-5347-4116-ad90-41b06fea083e" providerId="AD" clId="Web-{0F05E12D-E5AD-4CCD-BCE0-AE0E8523EA91}" dt="2022-11-10T16:13:39.825" v="43" actId="20577"/>
        <pc:sldMkLst>
          <pc:docMk/>
          <pc:sldMk cId="3140112688" sldId="417"/>
        </pc:sldMkLst>
        <pc:spChg chg="add del mod">
          <ac:chgData name="Rami Khoury" userId="S::rami@auxi.ai::71bbf9ab-5347-4116-ad90-41b06fea083e" providerId="AD" clId="Web-{0F05E12D-E5AD-4CCD-BCE0-AE0E8523EA91}" dt="2022-11-10T16:13:18.262" v="26"/>
          <ac:spMkLst>
            <pc:docMk/>
            <pc:sldMk cId="3140112688" sldId="417"/>
            <ac:spMk id="3" creationId="{80B8F26D-0BE7-EDE6-7E62-3034B9E41D86}"/>
          </ac:spMkLst>
        </pc:spChg>
        <pc:spChg chg="add del mod">
          <ac:chgData name="Rami Khoury" userId="S::rami@auxi.ai::71bbf9ab-5347-4116-ad90-41b06fea083e" providerId="AD" clId="Web-{0F05E12D-E5AD-4CCD-BCE0-AE0E8523EA91}" dt="2022-11-10T16:13:34.247" v="31"/>
          <ac:spMkLst>
            <pc:docMk/>
            <pc:sldMk cId="3140112688" sldId="417"/>
            <ac:spMk id="4" creationId="{003CDC4E-FA54-8E28-DEE4-F6013A5F0413}"/>
          </ac:spMkLst>
        </pc:spChg>
        <pc:spChg chg="add mod">
          <ac:chgData name="Rami Khoury" userId="S::rami@auxi.ai::71bbf9ab-5347-4116-ad90-41b06fea083e" providerId="AD" clId="Web-{0F05E12D-E5AD-4CCD-BCE0-AE0E8523EA91}" dt="2022-11-10T16:13:39.825" v="43" actId="20577"/>
          <ac:spMkLst>
            <pc:docMk/>
            <pc:sldMk cId="3140112688" sldId="417"/>
            <ac:spMk id="7" creationId="{DFA4F06A-320F-144A-39C8-0A7EFF682458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26.045" v="109" actId="20577"/>
        <pc:sldMkLst>
          <pc:docMk/>
          <pc:sldMk cId="2730051296" sldId="419"/>
        </pc:sldMkLst>
        <pc:spChg chg="add mod">
          <ac:chgData name="Rami Khoury" userId="S::rami@auxi.ai::71bbf9ab-5347-4116-ad90-41b06fea083e" providerId="AD" clId="Web-{0F05E12D-E5AD-4CCD-BCE0-AE0E8523EA91}" dt="2022-11-10T16:14:26.045" v="109" actId="20577"/>
          <ac:spMkLst>
            <pc:docMk/>
            <pc:sldMk cId="2730051296" sldId="419"/>
            <ac:spMk id="6" creationId="{240A4CCC-E414-E154-DC3F-DE4D0B9E4E6A}"/>
          </ac:spMkLst>
        </pc:spChg>
        <pc:spChg chg="mod">
          <ac:chgData name="Rami Khoury" userId="S::rami@auxi.ai::71bbf9ab-5347-4116-ad90-41b06fea083e" providerId="AD" clId="Web-{0F05E12D-E5AD-4CCD-BCE0-AE0E8523EA91}" dt="2022-11-10T16:14:07.841" v="86" actId="14100"/>
          <ac:spMkLst>
            <pc:docMk/>
            <pc:sldMk cId="2730051296" sldId="419"/>
            <ac:spMk id="25" creationId="{EE47316F-41E8-68C0-898F-3ED8FC7651F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41.279" v="113" actId="20577"/>
        <pc:sldMkLst>
          <pc:docMk/>
          <pc:sldMk cId="3660211604" sldId="425"/>
        </pc:sldMkLst>
        <pc:spChg chg="add mod">
          <ac:chgData name="Rami Khoury" userId="S::rami@auxi.ai::71bbf9ab-5347-4116-ad90-41b06fea083e" providerId="AD" clId="Web-{0F05E12D-E5AD-4CCD-BCE0-AE0E8523EA91}" dt="2022-11-10T16:14:41.279" v="113" actId="20577"/>
          <ac:spMkLst>
            <pc:docMk/>
            <pc:sldMk cId="3660211604" sldId="425"/>
            <ac:spMk id="6" creationId="{EE65DF4C-9F65-1789-93A2-39521A5967A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4:50.905" v="116" actId="20577"/>
        <pc:sldMkLst>
          <pc:docMk/>
          <pc:sldMk cId="2388409517" sldId="426"/>
        </pc:sldMkLst>
        <pc:spChg chg="add mod">
          <ac:chgData name="Rami Khoury" userId="S::rami@auxi.ai::71bbf9ab-5347-4116-ad90-41b06fea083e" providerId="AD" clId="Web-{0F05E12D-E5AD-4CCD-BCE0-AE0E8523EA91}" dt="2022-11-10T16:14:50.905" v="116" actId="20577"/>
          <ac:spMkLst>
            <pc:docMk/>
            <pc:sldMk cId="2388409517" sldId="426"/>
            <ac:spMk id="6" creationId="{044719B5-9F0C-5EC8-9638-6E216375488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5:35.640" v="135" actId="20577"/>
        <pc:sldMkLst>
          <pc:docMk/>
          <pc:sldMk cId="568402001" sldId="443"/>
        </pc:sldMkLst>
        <pc:spChg chg="add mod">
          <ac:chgData name="Rami Khoury" userId="S::rami@auxi.ai::71bbf9ab-5347-4116-ad90-41b06fea083e" providerId="AD" clId="Web-{0F05E12D-E5AD-4CCD-BCE0-AE0E8523EA91}" dt="2022-11-10T16:15:35.640" v="135" actId="20577"/>
          <ac:spMkLst>
            <pc:docMk/>
            <pc:sldMk cId="568402001" sldId="443"/>
            <ac:spMk id="4" creationId="{EEAB5E9B-8B9C-B581-B93B-650C37F994E0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20.719" v="152" actId="20577"/>
        <pc:sldMkLst>
          <pc:docMk/>
          <pc:sldMk cId="484966792" sldId="454"/>
        </pc:sldMkLst>
        <pc:spChg chg="add mod">
          <ac:chgData name="Rami Khoury" userId="S::rami@auxi.ai::71bbf9ab-5347-4116-ad90-41b06fea083e" providerId="AD" clId="Web-{0F05E12D-E5AD-4CCD-BCE0-AE0E8523EA91}" dt="2022-11-10T16:16:20.719" v="152" actId="20577"/>
          <ac:spMkLst>
            <pc:docMk/>
            <pc:sldMk cId="484966792" sldId="454"/>
            <ac:spMk id="21" creationId="{54E6AAF6-0C68-4272-16C1-488C0BAC66A2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6:54.235" v="184" actId="20577"/>
        <pc:sldMkLst>
          <pc:docMk/>
          <pc:sldMk cId="2275337115" sldId="456"/>
        </pc:sldMkLst>
        <pc:spChg chg="add mod">
          <ac:chgData name="Rami Khoury" userId="S::rami@auxi.ai::71bbf9ab-5347-4116-ad90-41b06fea083e" providerId="AD" clId="Web-{0F05E12D-E5AD-4CCD-BCE0-AE0E8523EA91}" dt="2022-11-10T16:16:54.235" v="184" actId="20577"/>
          <ac:spMkLst>
            <pc:docMk/>
            <pc:sldMk cId="2275337115" sldId="456"/>
            <ac:spMk id="6" creationId="{417D2393-8D83-3215-0F8E-6157E1FB171F}"/>
          </ac:spMkLst>
        </pc:spChg>
      </pc:sldChg>
      <pc:sldChg chg="addSp modSp">
        <pc:chgData name="Rami Khoury" userId="S::rami@auxi.ai::71bbf9ab-5347-4116-ad90-41b06fea083e" providerId="AD" clId="Web-{0F05E12D-E5AD-4CCD-BCE0-AE0E8523EA91}" dt="2022-11-10T16:17:14.314" v="197" actId="20577"/>
        <pc:sldMkLst>
          <pc:docMk/>
          <pc:sldMk cId="4219718538" sldId="462"/>
        </pc:sldMkLst>
        <pc:spChg chg="add mod">
          <ac:chgData name="Rami Khoury" userId="S::rami@auxi.ai::71bbf9ab-5347-4116-ad90-41b06fea083e" providerId="AD" clId="Web-{0F05E12D-E5AD-4CCD-BCE0-AE0E8523EA91}" dt="2022-11-10T16:17:14.314" v="197" actId="20577"/>
          <ac:spMkLst>
            <pc:docMk/>
            <pc:sldMk cId="4219718538" sldId="462"/>
            <ac:spMk id="4" creationId="{D17F0239-A2E4-3888-0FD8-708D862B48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E753A-2A8E-4FA4-A857-233A56515A45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1192C7-DD78-40CC-9E1E-119A9A8D5A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000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820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306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474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1192C7-DD78-40CC-9E1E-119A9A8D5AF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600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63AE89-D478-4B93-8806-852A1C8F75F6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28EC45-28F4-4DA2-ABC5-F361D4BBD29D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iamond 22">
            <a:extLst>
              <a:ext uri="{FF2B5EF4-FFF2-40B4-BE49-F238E27FC236}">
                <a16:creationId xmlns:a16="http://schemas.microsoft.com/office/drawing/2014/main" id="{8FC341B6-150A-4151-A569-EE3EB17ED634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A37882-3819-4CF4-B66D-A671C0FDA8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489838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9242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9A178C1-A3AB-42DA-BD9F-02AB940D8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68350"/>
          </a:xfrm>
        </p:spPr>
        <p:txBody>
          <a:bodyPr>
            <a:normAutofit/>
          </a:bodyPr>
          <a:lstStyle>
            <a:lvl1pPr algn="ctr">
              <a:defRPr sz="4000">
                <a:latin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FBAF10-DC5A-4BE2-AF72-24BC22FFEA67}"/>
              </a:ext>
            </a:extLst>
          </p:cNvPr>
          <p:cNvCxnSpPr/>
          <p:nvPr userDrawn="1"/>
        </p:nvCxnSpPr>
        <p:spPr>
          <a:xfrm>
            <a:off x="4714875" y="1133476"/>
            <a:ext cx="27622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690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9665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B65F8-5FCD-4638-8D35-B82B2ED74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A732A-598F-4BA5-974D-E62236F55E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169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7" indent="0" algn="ctr">
              <a:buNone/>
              <a:defRPr sz="1600"/>
            </a:lvl5pPr>
            <a:lvl6pPr marL="2285846" indent="0" algn="ctr">
              <a:buNone/>
              <a:defRPr sz="1600"/>
            </a:lvl6pPr>
            <a:lvl7pPr marL="2743015" indent="0" algn="ctr">
              <a:buNone/>
              <a:defRPr sz="1600"/>
            </a:lvl7pPr>
            <a:lvl8pPr marL="3200184" indent="0" algn="ctr">
              <a:buNone/>
              <a:defRPr sz="1600"/>
            </a:lvl8pPr>
            <a:lvl9pPr marL="36573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A1F9DC7-F920-4C13-9F91-29CFFF12EAA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734345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6C605C-2A73-4F5E-A294-077F30A3B3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1A060E-B246-46E4-B870-0E114B1CBAE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511847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9" name="BottomLine">
            <a:extLst>
              <a:ext uri="{FF2B5EF4-FFF2-40B4-BE49-F238E27FC236}">
                <a16:creationId xmlns:a16="http://schemas.microsoft.com/office/drawing/2014/main" id="{079CB140-BAC8-4306-9218-DB71A2E467D4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9" y="640931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">
            <a:extLst>
              <a:ext uri="{FF2B5EF4-FFF2-40B4-BE49-F238E27FC236}">
                <a16:creationId xmlns:a16="http://schemas.microsoft.com/office/drawing/2014/main" id="{A1F98388-DE29-4ACA-AABF-E5173B62D5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1120362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77C507D7-520D-4E9C-82D2-A7769F317D4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>
            <a:spLocks/>
          </p:cNvSpPr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C4B26D50-A9D2-471D-8CB0-B094D0EB5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1836831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bfusc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40" y="6501672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Bpxona …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0C14DA-2C86-4711-B72B-248BD5871AA3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63A6BA9-1B3A-4662-B3F6-0E82DD5DF06F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iamond 22">
            <a:extLst>
              <a:ext uri="{FF2B5EF4-FFF2-40B4-BE49-F238E27FC236}">
                <a16:creationId xmlns:a16="http://schemas.microsoft.com/office/drawing/2014/main" id="{2E069D0B-24FB-41CE-A6D7-2294B7E31521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3B611D1-B714-4385-A77B-863F9266B15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8249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>
            <a:extLst>
              <a:ext uri="{FF2B5EF4-FFF2-40B4-BE49-F238E27FC236}">
                <a16:creationId xmlns:a16="http://schemas.microsoft.com/office/drawing/2014/main" id="{34AEA312-77E9-4163-8C96-EBF9D3FCA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1519919-2BC6-4596-B263-68DE5C3FA67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BEB14A-E25C-44EA-ABB3-71A3306FA49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3331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Dark">
            <a:extLst>
              <a:ext uri="{FF2B5EF4-FFF2-40B4-BE49-F238E27FC236}">
                <a16:creationId xmlns:a16="http://schemas.microsoft.com/office/drawing/2014/main" id="{5863FE7E-99A2-4451-8663-B681CE6DE4A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4C2F13BF-E3F1-4A87-B07F-9C4B87EFBF74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92ADAA1-F175-4508-A7BE-FD2BF31444C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10772AD4-38FA-4688-AE24-6A26333CEDC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8E043E-A93F-4641-BFB8-8416CD02AD52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C470D3-590B-455A-821E-FFED7FC7030B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iamond 22">
            <a:extLst>
              <a:ext uri="{FF2B5EF4-FFF2-40B4-BE49-F238E27FC236}">
                <a16:creationId xmlns:a16="http://schemas.microsoft.com/office/drawing/2014/main" id="{911C0FCF-1F1D-4768-9BB1-6B189197C5FC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516CE418-308F-480C-B024-972F9D92B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5" name="SlideLogoText">
            <a:extLst>
              <a:ext uri="{FF2B5EF4-FFF2-40B4-BE49-F238E27FC236}">
                <a16:creationId xmlns:a16="http://schemas.microsoft.com/office/drawing/2014/main" id="{C823E540-3D48-4791-9E7A-8151FD17091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8D83191-8DFE-4EC1-A23B-459E3BB290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63072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184497AC-F47E-4CDF-89E9-19E69191D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53EB71EE-6350-4BB5-904A-6BEFD0493C0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196A5DE-90C3-4BE6-B712-09541564989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409600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rast 2/3"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2"/>
            <a:ext cx="696773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0" name="RectangleDark">
            <a:extLst>
              <a:ext uri="{FF2B5EF4-FFF2-40B4-BE49-F238E27FC236}">
                <a16:creationId xmlns:a16="http://schemas.microsoft.com/office/drawing/2014/main" id="{99B81D5D-6D8E-4932-A6FD-705DF486F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1" tIns="45720" rIns="91441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cxnSp>
        <p:nvCxnSpPr>
          <p:cNvPr id="22" name="BottomLineRight">
            <a:extLst>
              <a:ext uri="{FF2B5EF4-FFF2-40B4-BE49-F238E27FC236}">
                <a16:creationId xmlns:a16="http://schemas.microsoft.com/office/drawing/2014/main" id="{7D1DE2E8-AA9E-42B9-BAD4-151153A5882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black">
          <a:xfrm>
            <a:off x="8173375" y="6410907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ottomLineLeft">
            <a:extLst>
              <a:ext uri="{FF2B5EF4-FFF2-40B4-BE49-F238E27FC236}">
                <a16:creationId xmlns:a16="http://schemas.microsoft.com/office/drawing/2014/main" id="{FFF61976-64C7-43CE-9784-3224E709608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9" y="6410907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E09764B7-783C-4F53-8637-ECFD5B0F06C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554736" y="1122543"/>
            <a:ext cx="11082528" cy="3139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Enter slide sub-title here</a:t>
            </a:r>
            <a:endParaRPr lang="en-US" dirty="0"/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99C3F273-2617-463D-A9FD-5DFD518EE87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9" y="1120360"/>
            <a:ext cx="69677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TopLineRight">
            <a:extLst>
              <a:ext uri="{FF2B5EF4-FFF2-40B4-BE49-F238E27FC236}">
                <a16:creationId xmlns:a16="http://schemas.microsoft.com/office/drawing/2014/main" id="{2DF6A7A1-4C50-45D0-A3DE-C292DF17781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5" y="1120360"/>
            <a:ext cx="3465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lideLogoText">
            <a:extLst>
              <a:ext uri="{FF2B5EF4-FFF2-40B4-BE49-F238E27FC236}">
                <a16:creationId xmlns:a16="http://schemas.microsoft.com/office/drawing/2014/main" id="{0CC3AE38-CE18-4D5E-BF7C-1ED7316D966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0261605" y="6380668"/>
            <a:ext cx="627105" cy="3651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auxi a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50FD26-6F07-4EF5-AEAF-56964121B5EB}"/>
              </a:ext>
            </a:extLst>
          </p:cNvPr>
          <p:cNvCxnSpPr/>
          <p:nvPr userDrawn="1"/>
        </p:nvCxnSpPr>
        <p:spPr>
          <a:xfrm>
            <a:off x="10157650" y="5725471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2A45AF-D0AC-4366-90E4-25C8E29457F3}"/>
              </a:ext>
            </a:extLst>
          </p:cNvPr>
          <p:cNvCxnSpPr/>
          <p:nvPr userDrawn="1"/>
        </p:nvCxnSpPr>
        <p:spPr>
          <a:xfrm>
            <a:off x="251650" y="-535633"/>
            <a:ext cx="1709639" cy="1709639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iamond 22">
            <a:extLst>
              <a:ext uri="{FF2B5EF4-FFF2-40B4-BE49-F238E27FC236}">
                <a16:creationId xmlns:a16="http://schemas.microsoft.com/office/drawing/2014/main" id="{807708C1-7C7B-4D19-A315-BFDDBABA30F0}"/>
              </a:ext>
            </a:extLst>
          </p:cNvPr>
          <p:cNvSpPr/>
          <p:nvPr userDrawn="1"/>
        </p:nvSpPr>
        <p:spPr>
          <a:xfrm flipH="1">
            <a:off x="11012470" y="2260602"/>
            <a:ext cx="1171293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tx1">
                    <a:lumMod val="60000"/>
                    <a:lumOff val="40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C49B4D12-6825-4BD2-8EBF-F1C024A71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2" y="400809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/>
            </a:lvl1pPr>
          </a:lstStyle>
          <a:p>
            <a:pPr marL="0" lvl="0"/>
            <a:r>
              <a:rPr lang="en-US" dirty="0"/>
              <a:t>Enter slide title here</a:t>
            </a:r>
          </a:p>
        </p:txBody>
      </p:sp>
      <p:sp>
        <p:nvSpPr>
          <p:cNvPr id="19" name="SlideLogoText">
            <a:extLst>
              <a:ext uri="{FF2B5EF4-FFF2-40B4-BE49-F238E27FC236}">
                <a16:creationId xmlns:a16="http://schemas.microsoft.com/office/drawing/2014/main" id="{FC7E4E64-4F54-405A-BB1A-73DFEA379C8E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888709" y="6380665"/>
            <a:ext cx="465095" cy="365125"/>
          </a:xfrm>
          <a:prstGeom prst="rect">
            <a:avLst/>
          </a:prstGeom>
          <a:noFill/>
        </p:spPr>
        <p:txBody>
          <a:bodyPr wrap="square" lIns="88900" tIns="38100" rIns="88900" bIns="38100" rtlCol="0" anchor="ctr">
            <a:noAutofit/>
          </a:bodyPr>
          <a:lstStyle/>
          <a:p>
            <a:pPr algn="r"/>
            <a:fld id="{72CAE1DF-9AA2-46A4-9D05-5CEA4E3CC4AD}" type="slidenum">
              <a:rPr lang="en-US" sz="80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D32BF-0BF4-4B21-89B9-E7342A36A28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4731" y="6501386"/>
            <a:ext cx="6967731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Enter source here</a:t>
            </a:r>
          </a:p>
        </p:txBody>
      </p:sp>
    </p:spTree>
    <p:extLst>
      <p:ext uri="{BB962C8B-B14F-4D97-AF65-F5344CB8AC3E}">
        <p14:creationId xmlns:p14="http://schemas.microsoft.com/office/powerpoint/2010/main" val="374283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png"/><Relationship Id="rId4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85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/>
  <p:txStyles>
    <p:titleStyle>
      <a:lvl1pPr algn="l" defTabSz="91434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85" indent="-228585" algn="l" defTabSz="91434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754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292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093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262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43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0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69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38" indent="-228585" algn="l" defTabSz="91434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5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4" algn="l" defTabSz="9143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EC6455-DFBA-4FC6-912D-7CA9E9746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BE9-A651-402B-A68B-4ADB2D1EB9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LogoText">
            <a:extLst>
              <a:ext uri="{FF2B5EF4-FFF2-40B4-BE49-F238E27FC236}">
                <a16:creationId xmlns:a16="http://schemas.microsoft.com/office/drawing/2014/main" id="{829385E8-B333-C51C-1469-DC584208D0E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29058" y="6529807"/>
            <a:ext cx="640457" cy="161583"/>
          </a:xfrm>
          <a:prstGeom prst="rect">
            <a:avLst/>
          </a:prstGeom>
          <a:noFill/>
        </p:spPr>
        <p:txBody>
          <a:bodyPr wrap="square" lIns="44450" tIns="19050" rIns="44450" bIns="1905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01/25/2023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4699937-9159-C88C-3118-DA7FF8370B93}"/>
              </a:ext>
            </a:extLst>
          </p:cNvPr>
          <p:cNvSpPr txBox="1">
            <a:spLocks/>
          </p:cNvSpPr>
          <p:nvPr userDrawn="1"/>
        </p:nvSpPr>
        <p:spPr>
          <a:xfrm>
            <a:off x="554736" y="6569049"/>
            <a:ext cx="3483865" cy="11080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ource: www.auxi.ai 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9A0E4693-A9BB-3FC3-1927-CB83F8E467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0839" cy="59083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A02E6C8-F963-A0C1-095E-0B43F738F44A}"/>
              </a:ext>
            </a:extLst>
          </p:cNvPr>
          <p:cNvCxnSpPr/>
          <p:nvPr userDrawn="1"/>
        </p:nvCxnSpPr>
        <p:spPr>
          <a:xfrm>
            <a:off x="251648" y="-535634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8B0FBD5-E1A4-B69C-450C-91624EA0407A}"/>
              </a:ext>
            </a:extLst>
          </p:cNvPr>
          <p:cNvSpPr txBox="1">
            <a:spLocks/>
          </p:cNvSpPr>
          <p:nvPr userDrawn="1"/>
        </p:nvSpPr>
        <p:spPr>
          <a:xfrm>
            <a:off x="11154508" y="6417897"/>
            <a:ext cx="39858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2CAE1DF-9AA2-46A4-9D05-5CEA4E3CC4AD}" type="slidenum">
              <a:rPr lang="en-US" sz="1000" smtClean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pPr algn="r"/>
              <a:t>‹#›</a:t>
            </a:fld>
            <a:endParaRPr lang="en-US" sz="110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1619C54-4128-E600-56AD-8F766CCBF434}"/>
              </a:ext>
            </a:extLst>
          </p:cNvPr>
          <p:cNvCxnSpPr/>
          <p:nvPr userDrawn="1"/>
        </p:nvCxnSpPr>
        <p:spPr>
          <a:xfrm>
            <a:off x="10157648" y="5725466"/>
            <a:ext cx="1709639" cy="170963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iamond 22">
            <a:extLst>
              <a:ext uri="{FF2B5EF4-FFF2-40B4-BE49-F238E27FC236}">
                <a16:creationId xmlns:a16="http://schemas.microsoft.com/office/drawing/2014/main" id="{9F332D41-702B-56F6-4D67-B234FF198D30}"/>
              </a:ext>
            </a:extLst>
          </p:cNvPr>
          <p:cNvSpPr/>
          <p:nvPr userDrawn="1"/>
        </p:nvSpPr>
        <p:spPr>
          <a:xfrm flipH="1">
            <a:off x="11012467" y="2260600"/>
            <a:ext cx="1171294" cy="2336800"/>
          </a:xfrm>
          <a:custGeom>
            <a:avLst/>
            <a:gdLst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7903028 w 7903028"/>
              <a:gd name="connsiteY2" fmla="*/ 3951514 h 7903028"/>
              <a:gd name="connsiteX3" fmla="*/ 3951514 w 7903028"/>
              <a:gd name="connsiteY3" fmla="*/ 7903028 h 7903028"/>
              <a:gd name="connsiteX4" fmla="*/ 0 w 7903028"/>
              <a:gd name="connsiteY4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3951514 w 7903028"/>
              <a:gd name="connsiteY4" fmla="*/ 7903028 h 7903028"/>
              <a:gd name="connsiteX5" fmla="*/ 0 w 7903028"/>
              <a:gd name="connsiteY5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3951514 w 7903028"/>
              <a:gd name="connsiteY5" fmla="*/ 7903028 h 7903028"/>
              <a:gd name="connsiteX6" fmla="*/ 0 w 7903028"/>
              <a:gd name="connsiteY6" fmla="*/ 3951514 h 7903028"/>
              <a:gd name="connsiteX0" fmla="*/ 0 w 7903028"/>
              <a:gd name="connsiteY0" fmla="*/ 3951514 h 7903028"/>
              <a:gd name="connsiteX1" fmla="*/ 3951514 w 7903028"/>
              <a:gd name="connsiteY1" fmla="*/ 0 h 7903028"/>
              <a:gd name="connsiteX2" fmla="*/ 4465535 w 7903028"/>
              <a:gd name="connsiteY2" fmla="*/ 522514 h 7903028"/>
              <a:gd name="connsiteX3" fmla="*/ 7903028 w 7903028"/>
              <a:gd name="connsiteY3" fmla="*/ 3951514 h 7903028"/>
              <a:gd name="connsiteX4" fmla="*/ 4475060 w 7903028"/>
              <a:gd name="connsiteY4" fmla="*/ 7380514 h 7903028"/>
              <a:gd name="connsiteX5" fmla="*/ 4475060 w 7903028"/>
              <a:gd name="connsiteY5" fmla="*/ 7380514 h 7903028"/>
              <a:gd name="connsiteX6" fmla="*/ 3951514 w 7903028"/>
              <a:gd name="connsiteY6" fmla="*/ 7903028 h 7903028"/>
              <a:gd name="connsiteX7" fmla="*/ 0 w 7903028"/>
              <a:gd name="connsiteY7" fmla="*/ 3951514 h 7903028"/>
              <a:gd name="connsiteX0" fmla="*/ 3951514 w 7903028"/>
              <a:gd name="connsiteY0" fmla="*/ 7903028 h 7994468"/>
              <a:gd name="connsiteX1" fmla="*/ 0 w 7903028"/>
              <a:gd name="connsiteY1" fmla="*/ 3951514 h 7994468"/>
              <a:gd name="connsiteX2" fmla="*/ 3951514 w 7903028"/>
              <a:gd name="connsiteY2" fmla="*/ 0 h 7994468"/>
              <a:gd name="connsiteX3" fmla="*/ 4465535 w 7903028"/>
              <a:gd name="connsiteY3" fmla="*/ 522514 h 7994468"/>
              <a:gd name="connsiteX4" fmla="*/ 7903028 w 7903028"/>
              <a:gd name="connsiteY4" fmla="*/ 3951514 h 7994468"/>
              <a:gd name="connsiteX5" fmla="*/ 4475060 w 7903028"/>
              <a:gd name="connsiteY5" fmla="*/ 7380514 h 7994468"/>
              <a:gd name="connsiteX6" fmla="*/ 4475060 w 7903028"/>
              <a:gd name="connsiteY6" fmla="*/ 7380514 h 7994468"/>
              <a:gd name="connsiteX7" fmla="*/ 4042954 w 7903028"/>
              <a:gd name="connsiteY7" fmla="*/ 7994468 h 7994468"/>
              <a:gd name="connsiteX0" fmla="*/ 3951514 w 7903028"/>
              <a:gd name="connsiteY0" fmla="*/ 7903028 h 7903028"/>
              <a:gd name="connsiteX1" fmla="*/ 0 w 7903028"/>
              <a:gd name="connsiteY1" fmla="*/ 3951514 h 7903028"/>
              <a:gd name="connsiteX2" fmla="*/ 3951514 w 7903028"/>
              <a:gd name="connsiteY2" fmla="*/ 0 h 7903028"/>
              <a:gd name="connsiteX3" fmla="*/ 4465535 w 7903028"/>
              <a:gd name="connsiteY3" fmla="*/ 522514 h 7903028"/>
              <a:gd name="connsiteX4" fmla="*/ 7903028 w 7903028"/>
              <a:gd name="connsiteY4" fmla="*/ 3951514 h 7903028"/>
              <a:gd name="connsiteX5" fmla="*/ 4475060 w 7903028"/>
              <a:gd name="connsiteY5" fmla="*/ 7380514 h 7903028"/>
              <a:gd name="connsiteX6" fmla="*/ 4475060 w 7903028"/>
              <a:gd name="connsiteY6" fmla="*/ 7380514 h 7903028"/>
              <a:gd name="connsiteX0" fmla="*/ 0 w 3951514"/>
              <a:gd name="connsiteY0" fmla="*/ 7903028 h 7903028"/>
              <a:gd name="connsiteX1" fmla="*/ 0 w 3951514"/>
              <a:gd name="connsiteY1" fmla="*/ 0 h 7903028"/>
              <a:gd name="connsiteX2" fmla="*/ 514021 w 3951514"/>
              <a:gd name="connsiteY2" fmla="*/ 522514 h 7903028"/>
              <a:gd name="connsiteX3" fmla="*/ 3951514 w 3951514"/>
              <a:gd name="connsiteY3" fmla="*/ 3951514 h 7903028"/>
              <a:gd name="connsiteX4" fmla="*/ 523546 w 3951514"/>
              <a:gd name="connsiteY4" fmla="*/ 7380514 h 7903028"/>
              <a:gd name="connsiteX5" fmla="*/ 523546 w 3951514"/>
              <a:gd name="connsiteY5" fmla="*/ 7380514 h 7903028"/>
              <a:gd name="connsiteX0" fmla="*/ 0 w 3951514"/>
              <a:gd name="connsiteY0" fmla="*/ 7380514 h 7380514"/>
              <a:gd name="connsiteX1" fmla="*/ 514021 w 3951514"/>
              <a:gd name="connsiteY1" fmla="*/ 0 h 7380514"/>
              <a:gd name="connsiteX2" fmla="*/ 3951514 w 3951514"/>
              <a:gd name="connsiteY2" fmla="*/ 3429000 h 7380514"/>
              <a:gd name="connsiteX3" fmla="*/ 523546 w 3951514"/>
              <a:gd name="connsiteY3" fmla="*/ 6858000 h 7380514"/>
              <a:gd name="connsiteX4" fmla="*/ 523546 w 3951514"/>
              <a:gd name="connsiteY4" fmla="*/ 6858000 h 7380514"/>
              <a:gd name="connsiteX0" fmla="*/ 0 w 3437493"/>
              <a:gd name="connsiteY0" fmla="*/ 0 h 6858000"/>
              <a:gd name="connsiteX1" fmla="*/ 3437493 w 3437493"/>
              <a:gd name="connsiteY1" fmla="*/ 3429000 h 6858000"/>
              <a:gd name="connsiteX2" fmla="*/ 9525 w 3437493"/>
              <a:gd name="connsiteY2" fmla="*/ 6858000 h 6858000"/>
              <a:gd name="connsiteX3" fmla="*/ 9525 w 34374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7493" h="6858000">
                <a:moveTo>
                  <a:pt x="0" y="0"/>
                </a:moveTo>
                <a:lnTo>
                  <a:pt x="3437493" y="3429000"/>
                </a:lnTo>
                <a:lnTo>
                  <a:pt x="9525" y="6858000"/>
                </a:lnTo>
                <a:lnTo>
                  <a:pt x="9525" y="6858000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09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ahom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7233CB5-B7AC-79C3-3EEC-B2528937CDCC}"/>
              </a:ext>
            </a:extLst>
          </p:cNvPr>
          <p:cNvSpPr/>
          <p:nvPr/>
        </p:nvSpPr>
        <p:spPr>
          <a:xfrm>
            <a:off x="5277757" y="2673449"/>
            <a:ext cx="1636486" cy="163648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ain Text Here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550D4456-8161-8A75-A3FA-BBC659270C65}"/>
              </a:ext>
            </a:extLst>
          </p:cNvPr>
          <p:cNvCxnSpPr>
            <a:cxnSpLocks/>
            <a:stCxn id="3" idx="6"/>
            <a:endCxn id="7" idx="1"/>
          </p:cNvCxnSpPr>
          <p:nvPr/>
        </p:nvCxnSpPr>
        <p:spPr>
          <a:xfrm flipV="1">
            <a:off x="6914243" y="2301345"/>
            <a:ext cx="818243" cy="119034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8B43835-6E20-D5DB-FC44-CB620AB5F51A}"/>
              </a:ext>
            </a:extLst>
          </p:cNvPr>
          <p:cNvSpPr txBox="1"/>
          <p:nvPr/>
        </p:nvSpPr>
        <p:spPr>
          <a:xfrm>
            <a:off x="7732486" y="2089620"/>
            <a:ext cx="1636486" cy="4234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tIns="0" bIns="9144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4E6E15-27F0-A502-AACE-EE0C044D15BA}"/>
              </a:ext>
            </a:extLst>
          </p:cNvPr>
          <p:cNvSpPr txBox="1"/>
          <p:nvPr/>
        </p:nvSpPr>
        <p:spPr>
          <a:xfrm>
            <a:off x="7732486" y="2558010"/>
            <a:ext cx="1636486" cy="89473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, Enter Text Here, Enter Text Here, Enter Text Here. 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EC5E4E73-3721-AEE0-DD10-A416BF766DFA}"/>
              </a:ext>
            </a:extLst>
          </p:cNvPr>
          <p:cNvCxnSpPr>
            <a:cxnSpLocks/>
            <a:stCxn id="3" idx="6"/>
            <a:endCxn id="14" idx="1"/>
          </p:cNvCxnSpPr>
          <p:nvPr/>
        </p:nvCxnSpPr>
        <p:spPr>
          <a:xfrm>
            <a:off x="6914243" y="3491692"/>
            <a:ext cx="818243" cy="107351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2BC13E5-5034-91CB-A1A8-8F0CA40FFA44}"/>
              </a:ext>
            </a:extLst>
          </p:cNvPr>
          <p:cNvSpPr txBox="1"/>
          <p:nvPr/>
        </p:nvSpPr>
        <p:spPr>
          <a:xfrm>
            <a:off x="7732486" y="4353477"/>
            <a:ext cx="1636486" cy="4234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tIns="0" bIns="9144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05268E-0CE4-5633-2654-14092AE1D9ED}"/>
              </a:ext>
            </a:extLst>
          </p:cNvPr>
          <p:cNvSpPr txBox="1"/>
          <p:nvPr/>
        </p:nvSpPr>
        <p:spPr>
          <a:xfrm>
            <a:off x="7732486" y="4821867"/>
            <a:ext cx="1636486" cy="89473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, Enter Text Here, Enter Text Here, Enter Text Here. 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90DF1214-E1D5-EFD1-E6F8-9B6E0CCC160D}"/>
              </a:ext>
            </a:extLst>
          </p:cNvPr>
          <p:cNvCxnSpPr>
            <a:cxnSpLocks/>
            <a:stCxn id="3" idx="2"/>
            <a:endCxn id="18" idx="3"/>
          </p:cNvCxnSpPr>
          <p:nvPr/>
        </p:nvCxnSpPr>
        <p:spPr>
          <a:xfrm rot="10800000">
            <a:off x="4459515" y="2301346"/>
            <a:ext cx="818243" cy="119034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D9AFA27-56A5-594D-2C5A-8ABDE4B00870}"/>
              </a:ext>
            </a:extLst>
          </p:cNvPr>
          <p:cNvSpPr txBox="1"/>
          <p:nvPr/>
        </p:nvSpPr>
        <p:spPr>
          <a:xfrm>
            <a:off x="2823028" y="2089620"/>
            <a:ext cx="1636486" cy="4234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tIns="0" bIns="9144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C301B6-FB97-0759-7A7A-020C2446D13C}"/>
              </a:ext>
            </a:extLst>
          </p:cNvPr>
          <p:cNvSpPr txBox="1"/>
          <p:nvPr/>
        </p:nvSpPr>
        <p:spPr>
          <a:xfrm>
            <a:off x="2823028" y="2558010"/>
            <a:ext cx="1636486" cy="89473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, Enter Text Here, Enter Text Here, Enter Text Here. 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9995D2A2-AA13-9173-9373-0DFBFEC63B11}"/>
              </a:ext>
            </a:extLst>
          </p:cNvPr>
          <p:cNvCxnSpPr>
            <a:cxnSpLocks/>
            <a:stCxn id="3" idx="2"/>
            <a:endCxn id="21" idx="3"/>
          </p:cNvCxnSpPr>
          <p:nvPr/>
        </p:nvCxnSpPr>
        <p:spPr>
          <a:xfrm rot="10800000" flipV="1">
            <a:off x="4459515" y="3491692"/>
            <a:ext cx="818243" cy="107351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AE31911-A112-B886-4D30-2EFDEDBCF485}"/>
              </a:ext>
            </a:extLst>
          </p:cNvPr>
          <p:cNvSpPr txBox="1"/>
          <p:nvPr/>
        </p:nvSpPr>
        <p:spPr>
          <a:xfrm>
            <a:off x="2823028" y="4353477"/>
            <a:ext cx="1636486" cy="4234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tIns="0" bIns="9144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D6570D-7C40-6C0B-0B87-B371F3C61188}"/>
              </a:ext>
            </a:extLst>
          </p:cNvPr>
          <p:cNvSpPr txBox="1"/>
          <p:nvPr/>
        </p:nvSpPr>
        <p:spPr>
          <a:xfrm>
            <a:off x="2823028" y="4821867"/>
            <a:ext cx="1636486" cy="894732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, Enter Text Here, Enter Text Here, Enter Text Here. 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8635F5B1-67A7-24FF-084E-F94FE3D1C9AC}"/>
              </a:ext>
            </a:extLst>
          </p:cNvPr>
          <p:cNvCxnSpPr>
            <a:cxnSpLocks/>
            <a:stCxn id="18" idx="1"/>
            <a:endCxn id="31" idx="0"/>
          </p:cNvCxnSpPr>
          <p:nvPr/>
        </p:nvCxnSpPr>
        <p:spPr>
          <a:xfrm rot="10800000" flipV="1">
            <a:off x="1399050" y="2301345"/>
            <a:ext cx="1423979" cy="100170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25B9F84-26EB-F059-2E93-91929EF9581C}"/>
              </a:ext>
            </a:extLst>
          </p:cNvPr>
          <p:cNvSpPr txBox="1"/>
          <p:nvPr/>
        </p:nvSpPr>
        <p:spPr>
          <a:xfrm>
            <a:off x="554732" y="3303051"/>
            <a:ext cx="1688633" cy="377283"/>
          </a:xfrm>
          <a:prstGeom prst="rect">
            <a:avLst/>
          </a:prstGeom>
          <a:noFill/>
        </p:spPr>
        <p:txBody>
          <a:bodyPr vert="horz" wrap="square" t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0E1D20A9-954C-81B9-DD94-70B0BC4E179C}"/>
              </a:ext>
            </a:extLst>
          </p:cNvPr>
          <p:cNvCxnSpPr>
            <a:cxnSpLocks/>
            <a:stCxn id="21" idx="1"/>
            <a:endCxn id="31" idx="2"/>
          </p:cNvCxnSpPr>
          <p:nvPr/>
        </p:nvCxnSpPr>
        <p:spPr>
          <a:xfrm rot="10800000">
            <a:off x="1399050" y="3680334"/>
            <a:ext cx="1423979" cy="88486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A8E021DA-438B-16FF-FE71-A2CC5B53C56E}"/>
              </a:ext>
            </a:extLst>
          </p:cNvPr>
          <p:cNvSpPr txBox="1"/>
          <p:nvPr/>
        </p:nvSpPr>
        <p:spPr>
          <a:xfrm>
            <a:off x="9948627" y="3303051"/>
            <a:ext cx="1688633" cy="377283"/>
          </a:xfrm>
          <a:prstGeom prst="rect">
            <a:avLst/>
          </a:prstGeom>
          <a:noFill/>
        </p:spPr>
        <p:txBody>
          <a:bodyPr vert="horz" wrap="square" t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150000"/>
              </a:lnSpc>
              <a:defRPr sz="14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/>
              <a:t>Enter Text Here</a:t>
            </a: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6D3F7D13-8962-AF8C-601D-14F05C61BACB}"/>
              </a:ext>
            </a:extLst>
          </p:cNvPr>
          <p:cNvCxnSpPr>
            <a:cxnSpLocks/>
            <a:stCxn id="14" idx="3"/>
            <a:endCxn id="44" idx="2"/>
          </p:cNvCxnSpPr>
          <p:nvPr/>
        </p:nvCxnSpPr>
        <p:spPr>
          <a:xfrm flipV="1">
            <a:off x="9368972" y="3680334"/>
            <a:ext cx="1423972" cy="88486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A654C25D-61B2-2362-68B6-A38CE4B09E7D}"/>
              </a:ext>
            </a:extLst>
          </p:cNvPr>
          <p:cNvCxnSpPr>
            <a:cxnSpLocks/>
            <a:stCxn id="7" idx="3"/>
            <a:endCxn id="44" idx="0"/>
          </p:cNvCxnSpPr>
          <p:nvPr/>
        </p:nvCxnSpPr>
        <p:spPr>
          <a:xfrm>
            <a:off x="9368972" y="2301345"/>
            <a:ext cx="1423972" cy="100170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477076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505460A-4996-6311-99AB-FD4437C4D6D0}"/>
              </a:ext>
            </a:extLst>
          </p:cNvPr>
          <p:cNvSpPr/>
          <p:nvPr/>
        </p:nvSpPr>
        <p:spPr>
          <a:xfrm>
            <a:off x="722795" y="3190264"/>
            <a:ext cx="1708427" cy="12352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A8345F5-A851-366B-25F8-604862F08E39}"/>
              </a:ext>
            </a:extLst>
          </p:cNvPr>
          <p:cNvSpPr/>
          <p:nvPr/>
        </p:nvSpPr>
        <p:spPr>
          <a:xfrm>
            <a:off x="3324085" y="2158209"/>
            <a:ext cx="1708427" cy="123521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1105A722-2064-DEF5-54CD-1A26F44CA0D5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 flipV="1">
            <a:off x="2431222" y="2775816"/>
            <a:ext cx="892863" cy="103205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AF3A270-3799-7708-2436-C2977A02A4DE}"/>
              </a:ext>
            </a:extLst>
          </p:cNvPr>
          <p:cNvSpPr/>
          <p:nvPr/>
        </p:nvSpPr>
        <p:spPr>
          <a:xfrm>
            <a:off x="3324086" y="4222320"/>
            <a:ext cx="1708427" cy="123521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sz="14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3940E114-EDBB-3A46-655F-8534971132E3}"/>
              </a:ext>
            </a:extLst>
          </p:cNvPr>
          <p:cNvCxnSpPr>
            <a:cxnSpLocks/>
            <a:stCxn id="3" idx="3"/>
            <a:endCxn id="18" idx="1"/>
          </p:cNvCxnSpPr>
          <p:nvPr/>
        </p:nvCxnSpPr>
        <p:spPr>
          <a:xfrm>
            <a:off x="2431222" y="3807871"/>
            <a:ext cx="892864" cy="103205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9D97F12-94DC-E43D-5A4D-67E6B5AC6346}"/>
              </a:ext>
            </a:extLst>
          </p:cNvPr>
          <p:cNvSpPr txBox="1"/>
          <p:nvPr/>
        </p:nvSpPr>
        <p:spPr>
          <a:xfrm>
            <a:off x="5223012" y="2158209"/>
            <a:ext cx="1708427" cy="123521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 Nullam sed nisi fringilla, faucibus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7B4463B-50CB-76EC-500C-458D8C242835}"/>
              </a:ext>
            </a:extLst>
          </p:cNvPr>
          <p:cNvCxnSpPr>
            <a:cxnSpLocks/>
            <a:stCxn id="4" idx="3"/>
            <a:endCxn id="29" idx="1"/>
          </p:cNvCxnSpPr>
          <p:nvPr/>
        </p:nvCxnSpPr>
        <p:spPr>
          <a:xfrm>
            <a:off x="5032512" y="2775816"/>
            <a:ext cx="190500" cy="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686CB93B-FB61-DD3F-051A-C2CE5B5CAEF3}"/>
              </a:ext>
            </a:extLst>
          </p:cNvPr>
          <p:cNvSpPr txBox="1"/>
          <p:nvPr/>
        </p:nvSpPr>
        <p:spPr>
          <a:xfrm>
            <a:off x="5223013" y="4222320"/>
            <a:ext cx="1708427" cy="1235214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o. Nullam sed nisi fringilla, faucibus.</a:t>
            </a:r>
            <a:endParaRPr lang="en-US" sz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20F14486-AADC-5662-66AF-B96DA13328E1}"/>
              </a:ext>
            </a:extLst>
          </p:cNvPr>
          <p:cNvCxnSpPr>
            <a:cxnSpLocks/>
            <a:stCxn id="18" idx="3"/>
            <a:endCxn id="32" idx="1"/>
          </p:cNvCxnSpPr>
          <p:nvPr/>
        </p:nvCxnSpPr>
        <p:spPr>
          <a:xfrm>
            <a:off x="5032513" y="4839927"/>
            <a:ext cx="190500" cy="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007EDD7-B52B-9EB3-F2F6-F49979F93F0B}"/>
              </a:ext>
            </a:extLst>
          </p:cNvPr>
          <p:cNvSpPr/>
          <p:nvPr/>
        </p:nvSpPr>
        <p:spPr>
          <a:xfrm>
            <a:off x="7121939" y="2158209"/>
            <a:ext cx="1708427" cy="123521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10DEE539-4904-592C-AE94-39858C129273}"/>
              </a:ext>
            </a:extLst>
          </p:cNvPr>
          <p:cNvCxnSpPr>
            <a:cxnSpLocks/>
            <a:stCxn id="29" idx="3"/>
            <a:endCxn id="37" idx="1"/>
          </p:cNvCxnSpPr>
          <p:nvPr/>
        </p:nvCxnSpPr>
        <p:spPr>
          <a:xfrm>
            <a:off x="6931439" y="2775816"/>
            <a:ext cx="190500" cy="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5CE4A8A3-84E9-0670-22C4-B89197C1ED8D}"/>
              </a:ext>
            </a:extLst>
          </p:cNvPr>
          <p:cNvSpPr/>
          <p:nvPr/>
        </p:nvSpPr>
        <p:spPr>
          <a:xfrm>
            <a:off x="7121940" y="4222320"/>
            <a:ext cx="1708426" cy="123521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 Text Here</a:t>
            </a: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3CFFDD98-2F30-A24F-756C-A2738AA901F1}"/>
              </a:ext>
            </a:extLst>
          </p:cNvPr>
          <p:cNvCxnSpPr>
            <a:cxnSpLocks/>
            <a:stCxn id="32" idx="3"/>
            <a:endCxn id="40" idx="1"/>
          </p:cNvCxnSpPr>
          <p:nvPr/>
        </p:nvCxnSpPr>
        <p:spPr>
          <a:xfrm>
            <a:off x="6931440" y="4839927"/>
            <a:ext cx="190500" cy="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2285EE8E-1C18-3E87-D224-B0B62281834C}"/>
              </a:ext>
            </a:extLst>
          </p:cNvPr>
          <p:cNvSpPr>
            <a:spLocks/>
          </p:cNvSpPr>
          <p:nvPr/>
        </p:nvSpPr>
        <p:spPr>
          <a:xfrm>
            <a:off x="9760778" y="3190264"/>
            <a:ext cx="1708427" cy="12352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CD20A51B-4BAF-9329-CAF5-A0DA98EDE397}"/>
              </a:ext>
            </a:extLst>
          </p:cNvPr>
          <p:cNvCxnSpPr>
            <a:cxnSpLocks/>
            <a:stCxn id="37" idx="3"/>
            <a:endCxn id="43" idx="1"/>
          </p:cNvCxnSpPr>
          <p:nvPr/>
        </p:nvCxnSpPr>
        <p:spPr>
          <a:xfrm>
            <a:off x="8830366" y="2775816"/>
            <a:ext cx="930412" cy="103205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B0CDE66-0109-C5F9-4967-64A77B52AE4A}"/>
              </a:ext>
            </a:extLst>
          </p:cNvPr>
          <p:cNvCxnSpPr>
            <a:cxnSpLocks/>
            <a:stCxn id="40" idx="3"/>
            <a:endCxn id="43" idx="1"/>
          </p:cNvCxnSpPr>
          <p:nvPr/>
        </p:nvCxnSpPr>
        <p:spPr>
          <a:xfrm flipV="1">
            <a:off x="8830366" y="3807871"/>
            <a:ext cx="930412" cy="103205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183805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C28A379-2120-6056-4AC8-9B4D8E742D27}"/>
              </a:ext>
            </a:extLst>
          </p:cNvPr>
          <p:cNvSpPr/>
          <p:nvPr/>
        </p:nvSpPr>
        <p:spPr>
          <a:xfrm>
            <a:off x="727075" y="1645908"/>
            <a:ext cx="2520156" cy="1260078"/>
          </a:xfrm>
          <a:custGeom>
            <a:avLst/>
            <a:gdLst>
              <a:gd name="connsiteX0" fmla="*/ 0 w 2520156"/>
              <a:gd name="connsiteY0" fmla="*/ 126008 h 1260078"/>
              <a:gd name="connsiteX1" fmla="*/ 126008 w 2520156"/>
              <a:gd name="connsiteY1" fmla="*/ 0 h 1260078"/>
              <a:gd name="connsiteX2" fmla="*/ 2394148 w 2520156"/>
              <a:gd name="connsiteY2" fmla="*/ 0 h 1260078"/>
              <a:gd name="connsiteX3" fmla="*/ 2520156 w 2520156"/>
              <a:gd name="connsiteY3" fmla="*/ 126008 h 1260078"/>
              <a:gd name="connsiteX4" fmla="*/ 2520156 w 2520156"/>
              <a:gd name="connsiteY4" fmla="*/ 1134070 h 1260078"/>
              <a:gd name="connsiteX5" fmla="*/ 2394148 w 2520156"/>
              <a:gd name="connsiteY5" fmla="*/ 1260078 h 1260078"/>
              <a:gd name="connsiteX6" fmla="*/ 126008 w 2520156"/>
              <a:gd name="connsiteY6" fmla="*/ 1260078 h 1260078"/>
              <a:gd name="connsiteX7" fmla="*/ 0 w 2520156"/>
              <a:gd name="connsiteY7" fmla="*/ 1134070 h 1260078"/>
              <a:gd name="connsiteX8" fmla="*/ 0 w 2520156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0156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2394148" y="0"/>
                </a:lnTo>
                <a:cubicBezTo>
                  <a:pt x="2463740" y="0"/>
                  <a:pt x="2520156" y="56416"/>
                  <a:pt x="2520156" y="126008"/>
                </a:cubicBezTo>
                <a:lnTo>
                  <a:pt x="2520156" y="1134070"/>
                </a:lnTo>
                <a:cubicBezTo>
                  <a:pt x="2520156" y="1203662"/>
                  <a:pt x="2463740" y="1260078"/>
                  <a:pt x="2394148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626" tIns="67386" rIns="82626" bIns="67386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600" kern="120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E8A73FD-1510-2507-B991-020A996C2D1A}"/>
              </a:ext>
            </a:extLst>
          </p:cNvPr>
          <p:cNvSpPr>
            <a:spLocks/>
          </p:cNvSpPr>
          <p:nvPr/>
        </p:nvSpPr>
        <p:spPr>
          <a:xfrm>
            <a:off x="979090" y="2905986"/>
            <a:ext cx="252015" cy="94505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945058"/>
                </a:lnTo>
                <a:lnTo>
                  <a:pt x="252015" y="94505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D2249B9-2D5D-DF7F-A651-C9F565E24613}"/>
              </a:ext>
            </a:extLst>
          </p:cNvPr>
          <p:cNvSpPr/>
          <p:nvPr/>
        </p:nvSpPr>
        <p:spPr>
          <a:xfrm>
            <a:off x="1231106" y="3221005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7386" tIns="57226" rIns="67386" bIns="5722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6134AAC-1DF6-3503-9B24-CDB372F90F41}"/>
              </a:ext>
            </a:extLst>
          </p:cNvPr>
          <p:cNvSpPr>
            <a:spLocks/>
          </p:cNvSpPr>
          <p:nvPr/>
        </p:nvSpPr>
        <p:spPr>
          <a:xfrm>
            <a:off x="979090" y="2905986"/>
            <a:ext cx="252015" cy="252015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20156"/>
                </a:lnTo>
                <a:lnTo>
                  <a:pt x="252015" y="252015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25AEC81-C377-DB4A-A7E1-2DFE3E6344FD}"/>
              </a:ext>
            </a:extLst>
          </p:cNvPr>
          <p:cNvSpPr/>
          <p:nvPr/>
        </p:nvSpPr>
        <p:spPr>
          <a:xfrm>
            <a:off x="1231106" y="4796103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D1165D0-4833-D979-4399-AFF07080D185}"/>
              </a:ext>
            </a:extLst>
          </p:cNvPr>
          <p:cNvSpPr/>
          <p:nvPr/>
        </p:nvSpPr>
        <p:spPr>
          <a:xfrm>
            <a:off x="3466306" y="1645908"/>
            <a:ext cx="2520156" cy="1260078"/>
          </a:xfrm>
          <a:custGeom>
            <a:avLst/>
            <a:gdLst>
              <a:gd name="connsiteX0" fmla="*/ 0 w 2520156"/>
              <a:gd name="connsiteY0" fmla="*/ 126008 h 1260078"/>
              <a:gd name="connsiteX1" fmla="*/ 126008 w 2520156"/>
              <a:gd name="connsiteY1" fmla="*/ 0 h 1260078"/>
              <a:gd name="connsiteX2" fmla="*/ 2394148 w 2520156"/>
              <a:gd name="connsiteY2" fmla="*/ 0 h 1260078"/>
              <a:gd name="connsiteX3" fmla="*/ 2520156 w 2520156"/>
              <a:gd name="connsiteY3" fmla="*/ 126008 h 1260078"/>
              <a:gd name="connsiteX4" fmla="*/ 2520156 w 2520156"/>
              <a:gd name="connsiteY4" fmla="*/ 1134070 h 1260078"/>
              <a:gd name="connsiteX5" fmla="*/ 2394148 w 2520156"/>
              <a:gd name="connsiteY5" fmla="*/ 1260078 h 1260078"/>
              <a:gd name="connsiteX6" fmla="*/ 126008 w 2520156"/>
              <a:gd name="connsiteY6" fmla="*/ 1260078 h 1260078"/>
              <a:gd name="connsiteX7" fmla="*/ 0 w 2520156"/>
              <a:gd name="connsiteY7" fmla="*/ 1134070 h 1260078"/>
              <a:gd name="connsiteX8" fmla="*/ 0 w 2520156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0156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2394148" y="0"/>
                </a:lnTo>
                <a:cubicBezTo>
                  <a:pt x="2463740" y="0"/>
                  <a:pt x="2520156" y="56416"/>
                  <a:pt x="2520156" y="126008"/>
                </a:cubicBezTo>
                <a:lnTo>
                  <a:pt x="2520156" y="1134070"/>
                </a:lnTo>
                <a:cubicBezTo>
                  <a:pt x="2520156" y="1203662"/>
                  <a:pt x="2463740" y="1260078"/>
                  <a:pt x="2394148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626" tIns="67386" rIns="82626" bIns="67386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600" kern="1200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F51EEFF-A203-1EEB-6B26-8A7A5927A3C3}"/>
              </a:ext>
            </a:extLst>
          </p:cNvPr>
          <p:cNvSpPr>
            <a:spLocks/>
          </p:cNvSpPr>
          <p:nvPr/>
        </p:nvSpPr>
        <p:spPr>
          <a:xfrm>
            <a:off x="3718322" y="2905986"/>
            <a:ext cx="252015" cy="94505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945058"/>
                </a:lnTo>
                <a:lnTo>
                  <a:pt x="252015" y="94505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21761B6-6C94-C38A-CEB7-8F72D7B6C27F}"/>
              </a:ext>
            </a:extLst>
          </p:cNvPr>
          <p:cNvSpPr/>
          <p:nvPr/>
        </p:nvSpPr>
        <p:spPr>
          <a:xfrm>
            <a:off x="3970337" y="3221005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B320F36-F8DC-A84F-F229-91216CB8B756}"/>
              </a:ext>
            </a:extLst>
          </p:cNvPr>
          <p:cNvSpPr>
            <a:spLocks/>
          </p:cNvSpPr>
          <p:nvPr/>
        </p:nvSpPr>
        <p:spPr>
          <a:xfrm>
            <a:off x="3718322" y="2905986"/>
            <a:ext cx="252015" cy="252015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20156"/>
                </a:lnTo>
                <a:lnTo>
                  <a:pt x="252015" y="252015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27B6B8C-EBEE-CBF4-777B-696EAB7BEE9C}"/>
              </a:ext>
            </a:extLst>
          </p:cNvPr>
          <p:cNvSpPr/>
          <p:nvPr/>
        </p:nvSpPr>
        <p:spPr>
          <a:xfrm>
            <a:off x="3970337" y="4796103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3FAA680-005D-0521-7A4D-F2C9B312649F}"/>
              </a:ext>
            </a:extLst>
          </p:cNvPr>
          <p:cNvSpPr/>
          <p:nvPr/>
        </p:nvSpPr>
        <p:spPr>
          <a:xfrm>
            <a:off x="6205536" y="1645908"/>
            <a:ext cx="2520156" cy="1260078"/>
          </a:xfrm>
          <a:custGeom>
            <a:avLst/>
            <a:gdLst>
              <a:gd name="connsiteX0" fmla="*/ 0 w 2520156"/>
              <a:gd name="connsiteY0" fmla="*/ 126008 h 1260078"/>
              <a:gd name="connsiteX1" fmla="*/ 126008 w 2520156"/>
              <a:gd name="connsiteY1" fmla="*/ 0 h 1260078"/>
              <a:gd name="connsiteX2" fmla="*/ 2394148 w 2520156"/>
              <a:gd name="connsiteY2" fmla="*/ 0 h 1260078"/>
              <a:gd name="connsiteX3" fmla="*/ 2520156 w 2520156"/>
              <a:gd name="connsiteY3" fmla="*/ 126008 h 1260078"/>
              <a:gd name="connsiteX4" fmla="*/ 2520156 w 2520156"/>
              <a:gd name="connsiteY4" fmla="*/ 1134070 h 1260078"/>
              <a:gd name="connsiteX5" fmla="*/ 2394148 w 2520156"/>
              <a:gd name="connsiteY5" fmla="*/ 1260078 h 1260078"/>
              <a:gd name="connsiteX6" fmla="*/ 126008 w 2520156"/>
              <a:gd name="connsiteY6" fmla="*/ 1260078 h 1260078"/>
              <a:gd name="connsiteX7" fmla="*/ 0 w 2520156"/>
              <a:gd name="connsiteY7" fmla="*/ 1134070 h 1260078"/>
              <a:gd name="connsiteX8" fmla="*/ 0 w 2520156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0156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2394148" y="0"/>
                </a:lnTo>
                <a:cubicBezTo>
                  <a:pt x="2463740" y="0"/>
                  <a:pt x="2520156" y="56416"/>
                  <a:pt x="2520156" y="126008"/>
                </a:cubicBezTo>
                <a:lnTo>
                  <a:pt x="2520156" y="1134070"/>
                </a:lnTo>
                <a:cubicBezTo>
                  <a:pt x="2520156" y="1203662"/>
                  <a:pt x="2463740" y="1260078"/>
                  <a:pt x="2394148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626" tIns="67386" rIns="82626" bIns="67386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600" kern="120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5CB8A4D-AD7C-CC55-124D-8C5D1C792665}"/>
              </a:ext>
            </a:extLst>
          </p:cNvPr>
          <p:cNvSpPr>
            <a:spLocks/>
          </p:cNvSpPr>
          <p:nvPr/>
        </p:nvSpPr>
        <p:spPr>
          <a:xfrm>
            <a:off x="6457553" y="2905986"/>
            <a:ext cx="252015" cy="94505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945058"/>
                </a:lnTo>
                <a:lnTo>
                  <a:pt x="252015" y="94505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61C5977-FA3D-2BA5-299D-F72D1E28A6F3}"/>
              </a:ext>
            </a:extLst>
          </p:cNvPr>
          <p:cNvSpPr/>
          <p:nvPr/>
        </p:nvSpPr>
        <p:spPr>
          <a:xfrm>
            <a:off x="6709567" y="3221005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8B2AEFB-586F-7F9F-B0C7-FEA9298C6A86}"/>
              </a:ext>
            </a:extLst>
          </p:cNvPr>
          <p:cNvSpPr>
            <a:spLocks/>
          </p:cNvSpPr>
          <p:nvPr/>
        </p:nvSpPr>
        <p:spPr>
          <a:xfrm>
            <a:off x="6457553" y="2905986"/>
            <a:ext cx="252015" cy="252015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20156"/>
                </a:lnTo>
                <a:lnTo>
                  <a:pt x="252015" y="252015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28A997A-39D3-C24E-BF39-2AE6CF64AD8E}"/>
              </a:ext>
            </a:extLst>
          </p:cNvPr>
          <p:cNvSpPr/>
          <p:nvPr/>
        </p:nvSpPr>
        <p:spPr>
          <a:xfrm>
            <a:off x="6709567" y="4796103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D3770BA3-FDF0-08F5-A575-FFCD986D49FD}"/>
              </a:ext>
            </a:extLst>
          </p:cNvPr>
          <p:cNvSpPr/>
          <p:nvPr/>
        </p:nvSpPr>
        <p:spPr>
          <a:xfrm>
            <a:off x="8944766" y="1645908"/>
            <a:ext cx="2520156" cy="1260078"/>
          </a:xfrm>
          <a:custGeom>
            <a:avLst/>
            <a:gdLst>
              <a:gd name="connsiteX0" fmla="*/ 0 w 2520156"/>
              <a:gd name="connsiteY0" fmla="*/ 126008 h 1260078"/>
              <a:gd name="connsiteX1" fmla="*/ 126008 w 2520156"/>
              <a:gd name="connsiteY1" fmla="*/ 0 h 1260078"/>
              <a:gd name="connsiteX2" fmla="*/ 2394148 w 2520156"/>
              <a:gd name="connsiteY2" fmla="*/ 0 h 1260078"/>
              <a:gd name="connsiteX3" fmla="*/ 2520156 w 2520156"/>
              <a:gd name="connsiteY3" fmla="*/ 126008 h 1260078"/>
              <a:gd name="connsiteX4" fmla="*/ 2520156 w 2520156"/>
              <a:gd name="connsiteY4" fmla="*/ 1134070 h 1260078"/>
              <a:gd name="connsiteX5" fmla="*/ 2394148 w 2520156"/>
              <a:gd name="connsiteY5" fmla="*/ 1260078 h 1260078"/>
              <a:gd name="connsiteX6" fmla="*/ 126008 w 2520156"/>
              <a:gd name="connsiteY6" fmla="*/ 1260078 h 1260078"/>
              <a:gd name="connsiteX7" fmla="*/ 0 w 2520156"/>
              <a:gd name="connsiteY7" fmla="*/ 1134070 h 1260078"/>
              <a:gd name="connsiteX8" fmla="*/ 0 w 2520156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0156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2394148" y="0"/>
                </a:lnTo>
                <a:cubicBezTo>
                  <a:pt x="2463740" y="0"/>
                  <a:pt x="2520156" y="56416"/>
                  <a:pt x="2520156" y="126008"/>
                </a:cubicBezTo>
                <a:lnTo>
                  <a:pt x="2520156" y="1134070"/>
                </a:lnTo>
                <a:cubicBezTo>
                  <a:pt x="2520156" y="1203662"/>
                  <a:pt x="2463740" y="1260078"/>
                  <a:pt x="2394148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626" tIns="67386" rIns="82626" bIns="67386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600" kern="120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C5A0B7D-DD90-716C-269B-B5A6167AEB81}"/>
              </a:ext>
            </a:extLst>
          </p:cNvPr>
          <p:cNvSpPr>
            <a:spLocks/>
          </p:cNvSpPr>
          <p:nvPr/>
        </p:nvSpPr>
        <p:spPr>
          <a:xfrm>
            <a:off x="9196784" y="2905986"/>
            <a:ext cx="252015" cy="94505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945058"/>
                </a:lnTo>
                <a:lnTo>
                  <a:pt x="252015" y="94505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39C6CF3C-E96C-FC68-95D9-02C6FC94FF5F}"/>
              </a:ext>
            </a:extLst>
          </p:cNvPr>
          <p:cNvSpPr/>
          <p:nvPr/>
        </p:nvSpPr>
        <p:spPr>
          <a:xfrm>
            <a:off x="9448798" y="3221005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BC4974-E6FB-F282-2248-59F35A317372}"/>
              </a:ext>
            </a:extLst>
          </p:cNvPr>
          <p:cNvSpPr>
            <a:spLocks/>
          </p:cNvSpPr>
          <p:nvPr/>
        </p:nvSpPr>
        <p:spPr>
          <a:xfrm>
            <a:off x="9196784" y="2905986"/>
            <a:ext cx="252015" cy="252015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20156"/>
                </a:lnTo>
                <a:lnTo>
                  <a:pt x="252015" y="252015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AC6E64B-852B-D214-4E41-B17B62C9C911}"/>
              </a:ext>
            </a:extLst>
          </p:cNvPr>
          <p:cNvSpPr/>
          <p:nvPr/>
        </p:nvSpPr>
        <p:spPr>
          <a:xfrm>
            <a:off x="9448798" y="4796103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75933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42077-8D3B-A49C-6C93-D2C3DF7CD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 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FB244-4D74-F659-8209-51241EA5B5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ter Subtitle He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C28A379-2120-6056-4AC8-9B4D8E742D27}"/>
              </a:ext>
            </a:extLst>
          </p:cNvPr>
          <p:cNvSpPr/>
          <p:nvPr/>
        </p:nvSpPr>
        <p:spPr>
          <a:xfrm>
            <a:off x="727075" y="1645908"/>
            <a:ext cx="2520156" cy="1260078"/>
          </a:xfrm>
          <a:custGeom>
            <a:avLst/>
            <a:gdLst>
              <a:gd name="connsiteX0" fmla="*/ 0 w 2520156"/>
              <a:gd name="connsiteY0" fmla="*/ 126008 h 1260078"/>
              <a:gd name="connsiteX1" fmla="*/ 126008 w 2520156"/>
              <a:gd name="connsiteY1" fmla="*/ 0 h 1260078"/>
              <a:gd name="connsiteX2" fmla="*/ 2394148 w 2520156"/>
              <a:gd name="connsiteY2" fmla="*/ 0 h 1260078"/>
              <a:gd name="connsiteX3" fmla="*/ 2520156 w 2520156"/>
              <a:gd name="connsiteY3" fmla="*/ 126008 h 1260078"/>
              <a:gd name="connsiteX4" fmla="*/ 2520156 w 2520156"/>
              <a:gd name="connsiteY4" fmla="*/ 1134070 h 1260078"/>
              <a:gd name="connsiteX5" fmla="*/ 2394148 w 2520156"/>
              <a:gd name="connsiteY5" fmla="*/ 1260078 h 1260078"/>
              <a:gd name="connsiteX6" fmla="*/ 126008 w 2520156"/>
              <a:gd name="connsiteY6" fmla="*/ 1260078 h 1260078"/>
              <a:gd name="connsiteX7" fmla="*/ 0 w 2520156"/>
              <a:gd name="connsiteY7" fmla="*/ 1134070 h 1260078"/>
              <a:gd name="connsiteX8" fmla="*/ 0 w 2520156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0156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2394148" y="0"/>
                </a:lnTo>
                <a:cubicBezTo>
                  <a:pt x="2463740" y="0"/>
                  <a:pt x="2520156" y="56416"/>
                  <a:pt x="2520156" y="126008"/>
                </a:cubicBezTo>
                <a:lnTo>
                  <a:pt x="2520156" y="1134070"/>
                </a:lnTo>
                <a:cubicBezTo>
                  <a:pt x="2520156" y="1203662"/>
                  <a:pt x="2463740" y="1260078"/>
                  <a:pt x="2394148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626" tIns="67386" rIns="82626" bIns="67386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600" kern="120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E8A73FD-1510-2507-B991-020A996C2D1A}"/>
              </a:ext>
            </a:extLst>
          </p:cNvPr>
          <p:cNvSpPr>
            <a:spLocks/>
          </p:cNvSpPr>
          <p:nvPr/>
        </p:nvSpPr>
        <p:spPr>
          <a:xfrm>
            <a:off x="979090" y="2905986"/>
            <a:ext cx="252015" cy="94505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945058"/>
                </a:lnTo>
                <a:lnTo>
                  <a:pt x="252015" y="94505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D2249B9-2D5D-DF7F-A651-C9F565E24613}"/>
              </a:ext>
            </a:extLst>
          </p:cNvPr>
          <p:cNvSpPr/>
          <p:nvPr/>
        </p:nvSpPr>
        <p:spPr>
          <a:xfrm>
            <a:off x="1231106" y="3221005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7386" tIns="57226" rIns="67386" bIns="5722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6134AAC-1DF6-3503-9B24-CDB372F90F41}"/>
              </a:ext>
            </a:extLst>
          </p:cNvPr>
          <p:cNvSpPr>
            <a:spLocks/>
          </p:cNvSpPr>
          <p:nvPr/>
        </p:nvSpPr>
        <p:spPr>
          <a:xfrm>
            <a:off x="979090" y="2905986"/>
            <a:ext cx="252015" cy="252015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20156"/>
                </a:lnTo>
                <a:lnTo>
                  <a:pt x="252015" y="252015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25AEC81-C377-DB4A-A7E1-2DFE3E6344FD}"/>
              </a:ext>
            </a:extLst>
          </p:cNvPr>
          <p:cNvSpPr/>
          <p:nvPr/>
        </p:nvSpPr>
        <p:spPr>
          <a:xfrm>
            <a:off x="1231106" y="4796103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3FAA680-005D-0521-7A4D-F2C9B312649F}"/>
              </a:ext>
            </a:extLst>
          </p:cNvPr>
          <p:cNvSpPr/>
          <p:nvPr/>
        </p:nvSpPr>
        <p:spPr>
          <a:xfrm>
            <a:off x="3842067" y="1645908"/>
            <a:ext cx="2520156" cy="1260078"/>
          </a:xfrm>
          <a:custGeom>
            <a:avLst/>
            <a:gdLst>
              <a:gd name="connsiteX0" fmla="*/ 0 w 2520156"/>
              <a:gd name="connsiteY0" fmla="*/ 126008 h 1260078"/>
              <a:gd name="connsiteX1" fmla="*/ 126008 w 2520156"/>
              <a:gd name="connsiteY1" fmla="*/ 0 h 1260078"/>
              <a:gd name="connsiteX2" fmla="*/ 2394148 w 2520156"/>
              <a:gd name="connsiteY2" fmla="*/ 0 h 1260078"/>
              <a:gd name="connsiteX3" fmla="*/ 2520156 w 2520156"/>
              <a:gd name="connsiteY3" fmla="*/ 126008 h 1260078"/>
              <a:gd name="connsiteX4" fmla="*/ 2520156 w 2520156"/>
              <a:gd name="connsiteY4" fmla="*/ 1134070 h 1260078"/>
              <a:gd name="connsiteX5" fmla="*/ 2394148 w 2520156"/>
              <a:gd name="connsiteY5" fmla="*/ 1260078 h 1260078"/>
              <a:gd name="connsiteX6" fmla="*/ 126008 w 2520156"/>
              <a:gd name="connsiteY6" fmla="*/ 1260078 h 1260078"/>
              <a:gd name="connsiteX7" fmla="*/ 0 w 2520156"/>
              <a:gd name="connsiteY7" fmla="*/ 1134070 h 1260078"/>
              <a:gd name="connsiteX8" fmla="*/ 0 w 2520156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0156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2394148" y="0"/>
                </a:lnTo>
                <a:cubicBezTo>
                  <a:pt x="2463740" y="0"/>
                  <a:pt x="2520156" y="56416"/>
                  <a:pt x="2520156" y="126008"/>
                </a:cubicBezTo>
                <a:lnTo>
                  <a:pt x="2520156" y="1134070"/>
                </a:lnTo>
                <a:cubicBezTo>
                  <a:pt x="2520156" y="1203662"/>
                  <a:pt x="2463740" y="1260078"/>
                  <a:pt x="2394148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626" tIns="67386" rIns="82626" bIns="67386" numCol="1" spcCol="1270" anchor="ctr" anchorCtr="0">
            <a:noAutofit/>
          </a:bodyPr>
          <a:lstStyle/>
          <a:p>
            <a:pPr marL="0" lvl="0" indent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b="1" kern="1200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600" kern="120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5CB8A4D-AD7C-CC55-124D-8C5D1C792665}"/>
              </a:ext>
            </a:extLst>
          </p:cNvPr>
          <p:cNvSpPr>
            <a:spLocks/>
          </p:cNvSpPr>
          <p:nvPr/>
        </p:nvSpPr>
        <p:spPr>
          <a:xfrm>
            <a:off x="4094084" y="2905986"/>
            <a:ext cx="252015" cy="94505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945058"/>
                </a:lnTo>
                <a:lnTo>
                  <a:pt x="252015" y="945058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61C5977-FA3D-2BA5-299D-F72D1E28A6F3}"/>
              </a:ext>
            </a:extLst>
          </p:cNvPr>
          <p:cNvSpPr/>
          <p:nvPr/>
        </p:nvSpPr>
        <p:spPr>
          <a:xfrm>
            <a:off x="4346098" y="3221005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8B2AEFB-586F-7F9F-B0C7-FEA9298C6A86}"/>
              </a:ext>
            </a:extLst>
          </p:cNvPr>
          <p:cNvSpPr>
            <a:spLocks/>
          </p:cNvSpPr>
          <p:nvPr/>
        </p:nvSpPr>
        <p:spPr>
          <a:xfrm>
            <a:off x="4094084" y="2905986"/>
            <a:ext cx="252015" cy="252015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20156"/>
                </a:lnTo>
                <a:lnTo>
                  <a:pt x="252015" y="252015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28A997A-39D3-C24E-BF39-2AE6CF64AD8E}"/>
              </a:ext>
            </a:extLst>
          </p:cNvPr>
          <p:cNvSpPr/>
          <p:nvPr/>
        </p:nvSpPr>
        <p:spPr>
          <a:xfrm>
            <a:off x="4346098" y="4796103"/>
            <a:ext cx="2016125" cy="1260078"/>
          </a:xfrm>
          <a:custGeom>
            <a:avLst/>
            <a:gdLst>
              <a:gd name="connsiteX0" fmla="*/ 0 w 2016125"/>
              <a:gd name="connsiteY0" fmla="*/ 126008 h 1260078"/>
              <a:gd name="connsiteX1" fmla="*/ 126008 w 2016125"/>
              <a:gd name="connsiteY1" fmla="*/ 0 h 1260078"/>
              <a:gd name="connsiteX2" fmla="*/ 1890117 w 2016125"/>
              <a:gd name="connsiteY2" fmla="*/ 0 h 1260078"/>
              <a:gd name="connsiteX3" fmla="*/ 2016125 w 2016125"/>
              <a:gd name="connsiteY3" fmla="*/ 126008 h 1260078"/>
              <a:gd name="connsiteX4" fmla="*/ 2016125 w 2016125"/>
              <a:gd name="connsiteY4" fmla="*/ 1134070 h 1260078"/>
              <a:gd name="connsiteX5" fmla="*/ 1890117 w 2016125"/>
              <a:gd name="connsiteY5" fmla="*/ 1260078 h 1260078"/>
              <a:gd name="connsiteX6" fmla="*/ 126008 w 2016125"/>
              <a:gd name="connsiteY6" fmla="*/ 1260078 h 1260078"/>
              <a:gd name="connsiteX7" fmla="*/ 0 w 2016125"/>
              <a:gd name="connsiteY7" fmla="*/ 1134070 h 1260078"/>
              <a:gd name="connsiteX8" fmla="*/ 0 w 2016125"/>
              <a:gd name="connsiteY8" fmla="*/ 126008 h 1260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6125" h="1260078">
                <a:moveTo>
                  <a:pt x="0" y="126008"/>
                </a:moveTo>
                <a:cubicBezTo>
                  <a:pt x="0" y="56416"/>
                  <a:pt x="56416" y="0"/>
                  <a:pt x="126008" y="0"/>
                </a:cubicBezTo>
                <a:lnTo>
                  <a:pt x="1890117" y="0"/>
                </a:lnTo>
                <a:cubicBezTo>
                  <a:pt x="1959709" y="0"/>
                  <a:pt x="2016125" y="56416"/>
                  <a:pt x="2016125" y="126008"/>
                </a:cubicBezTo>
                <a:lnTo>
                  <a:pt x="2016125" y="1134070"/>
                </a:lnTo>
                <a:cubicBezTo>
                  <a:pt x="2016125" y="1203662"/>
                  <a:pt x="1959709" y="1260078"/>
                  <a:pt x="1890117" y="1260078"/>
                </a:cubicBezTo>
                <a:lnTo>
                  <a:pt x="126008" y="1260078"/>
                </a:lnTo>
                <a:cubicBezTo>
                  <a:pt x="56416" y="1260078"/>
                  <a:pt x="0" y="1203662"/>
                  <a:pt x="0" y="1134070"/>
                </a:cubicBezTo>
                <a:lnTo>
                  <a:pt x="0" y="126008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5006" tIns="62306" rIns="75006" bIns="62306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pic>
        <p:nvPicPr>
          <p:cNvPr id="6" name="Picture 5" descr="Shape&#10;&#10;Description automatically generated">
            <a:extLst>
              <a:ext uri="{FF2B5EF4-FFF2-40B4-BE49-F238E27FC236}">
                <a16:creationId xmlns:a16="http://schemas.microsoft.com/office/drawing/2014/main" id="{914FF194-8D27-F92F-E725-5A25C4DF8C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841" y="1644262"/>
            <a:ext cx="2206782" cy="2206782"/>
          </a:xfrm>
          <a:prstGeom prst="rect">
            <a:avLst/>
          </a:prstGeom>
        </p:spPr>
      </p:pic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F295F832-F55D-DDAE-EA7A-4DDE48AEC9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478" y="3851044"/>
            <a:ext cx="2206782" cy="22067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DE31DF-D230-EC28-CB28-DB6B1438BF05}"/>
              </a:ext>
            </a:extLst>
          </p:cNvPr>
          <p:cNvSpPr txBox="1">
            <a:spLocks/>
          </p:cNvSpPr>
          <p:nvPr/>
        </p:nvSpPr>
        <p:spPr>
          <a:xfrm>
            <a:off x="6921841" y="3849399"/>
            <a:ext cx="2206782" cy="2206782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255827-139C-B0CD-2641-C3DAC5CEC77F}"/>
              </a:ext>
            </a:extLst>
          </p:cNvPr>
          <p:cNvSpPr txBox="1">
            <a:spLocks/>
          </p:cNvSpPr>
          <p:nvPr/>
        </p:nvSpPr>
        <p:spPr>
          <a:xfrm>
            <a:off x="9430478" y="1644262"/>
            <a:ext cx="2206782" cy="2206782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endParaRPr lang="en-US" sz="1200" b="0" kern="1200" dirty="0">
              <a:solidFill>
                <a:schemeClr val="bg2"/>
              </a:solidFill>
              <a:latin typeface="Calibri" panose="020F050202020403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200" b="0" kern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Etiam vitae quam quis leo pulvinar lacinia at quis odi.</a:t>
            </a:r>
            <a:r>
              <a:rPr lang="en-US" sz="1200" dirty="0">
                <a:solidFill>
                  <a:schemeClr val="bg2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endParaRPr lang="en-US" sz="1200" b="0" kern="1200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9839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_AGENDA_SLIDE" val="{&quot;ID&quot;:&quot;e2fd1df4-1ce9-48dc-8ff7-642565fdc700&quot;,&quot;IsAgendaSection&quot;:false,&quot;Title&quot;:&quot;&quot;,&quot;Level&quot;:-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2_Office Theme">
  <a:themeElements>
    <a:clrScheme name="Custom 3">
      <a:dk1>
        <a:srgbClr val="80C7A7"/>
      </a:dk1>
      <a:lt1>
        <a:srgbClr val="FFFFFF"/>
      </a:lt1>
      <a:dk2>
        <a:srgbClr val="3F3F3F"/>
      </a:dk2>
      <a:lt2>
        <a:srgbClr val="000000"/>
      </a:lt2>
      <a:accent1>
        <a:srgbClr val="80C7A7"/>
      </a:accent1>
      <a:accent2>
        <a:srgbClr val="80C7A7"/>
      </a:accent2>
      <a:accent3>
        <a:srgbClr val="80C7A7"/>
      </a:accent3>
      <a:accent4>
        <a:srgbClr val="80C7A7"/>
      </a:accent4>
      <a:accent5>
        <a:srgbClr val="80C7A7"/>
      </a:accent5>
      <a:accent6>
        <a:srgbClr val="80C7A7"/>
      </a:accent6>
      <a:hlink>
        <a:srgbClr val="FFFFFF"/>
      </a:hlink>
      <a:folHlink>
        <a:srgbClr val="000000"/>
      </a:folHlink>
    </a:clrScheme>
    <a:fontScheme name="Modern 0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2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ct val="150000"/>
          </a:lnSpc>
          <a:defRPr sz="12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4">
      <a:dk1>
        <a:srgbClr val="3F3F3F"/>
      </a:dk1>
      <a:lt1>
        <a:srgbClr val="FFFFFF"/>
      </a:lt1>
      <a:dk2>
        <a:srgbClr val="3F3F3F"/>
      </a:dk2>
      <a:lt2>
        <a:srgbClr val="E7E6E6"/>
      </a:lt2>
      <a:accent1>
        <a:srgbClr val="80C7A7"/>
      </a:accent1>
      <a:accent2>
        <a:srgbClr val="92667D"/>
      </a:accent2>
      <a:accent3>
        <a:srgbClr val="D17083"/>
      </a:accent3>
      <a:accent4>
        <a:srgbClr val="FF788B"/>
      </a:accent4>
      <a:accent5>
        <a:srgbClr val="3C5D7A"/>
      </a:accent5>
      <a:accent6>
        <a:srgbClr val="92667D"/>
      </a:accent6>
      <a:hlink>
        <a:srgbClr val="0563C1"/>
      </a:hlink>
      <a:folHlink>
        <a:srgbClr val="954F72"/>
      </a:folHlink>
    </a:clrScheme>
    <a:fontScheme name="Office">
      <a:majorFont>
        <a:latin typeface="Tahom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Tahom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1</TotalTime>
  <Words>595</Words>
  <Application>Microsoft Office PowerPoint</Application>
  <PresentationFormat>Widescreen</PresentationFormat>
  <Paragraphs>53</Paragraphs>
  <Slides>4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Segoe UI</vt:lpstr>
      <vt:lpstr>Tahoma</vt:lpstr>
      <vt:lpstr>2_Office Theme</vt:lpstr>
      <vt:lpstr>3_Office Theme</vt:lpstr>
      <vt:lpstr>Enter Title Here</vt:lpstr>
      <vt:lpstr>Enter Title Here</vt:lpstr>
      <vt:lpstr>Enter Title Here</vt:lpstr>
      <vt:lpstr>Enter Title He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 Title Here</dc:title>
  <dc:creator>Zainab Kassab</dc:creator>
  <cp:lastModifiedBy>Zainab Kassab</cp:lastModifiedBy>
  <cp:revision>111</cp:revision>
  <dcterms:created xsi:type="dcterms:W3CDTF">2022-10-25T11:11:06Z</dcterms:created>
  <dcterms:modified xsi:type="dcterms:W3CDTF">2023-03-08T11:19:22Z</dcterms:modified>
</cp:coreProperties>
</file>